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8" r:id="rId2"/>
  </p:sldMasterIdLst>
  <p:notesMasterIdLst>
    <p:notesMasterId r:id="rId5"/>
  </p:notesMasterIdLst>
  <p:sldIdLst>
    <p:sldId id="2007579601" r:id="rId3"/>
    <p:sldId id="200757958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41"/>
    <a:srgbClr val="EF5D5E"/>
    <a:srgbClr val="000000"/>
    <a:srgbClr val="1C9CD9"/>
    <a:srgbClr val="7C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12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6DFFA-9ADE-460E-A492-F17F9233DB8C}" type="datetimeFigureOut">
              <a:rPr lang="en-US" smtClean="0"/>
              <a:t>8/1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9A88CB-DC9F-4CEE-BB5D-2C0861C30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13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554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345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0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20.sv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1"/>
            <a:ext cx="1584960" cy="173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80036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99CFD-CDCA-48DE-AE7F-C963C2F7C237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96560184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805B4-B027-49F8-8B7C-3A5585794237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34946062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EB05A-54F4-4A54-AB1C-9D9150173D85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607540988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F768-C985-4719-9833-D6E4625A498C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10680705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65A23-1D2B-4E30-BCB8-2E380B614E4F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4037500685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F37A4-D1BA-48CE-B1AE-27E69AB50A63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463040"/>
            <a:ext cx="1097280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97280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7081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0661595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65E8D-D692-4819-B6C3-5CC536FADB03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427728666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F38DA2-75D6-4D32-A678-969C51339208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09601" y="640080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863924997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 bwMode="auto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385C189-5782-40B4-ACB7-E9CCCAF58A40}" type="datetime1">
              <a:rPr lang="en-US" smtClean="0"/>
              <a:t>8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tx2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9101680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0F597A-5D49-48E9-98EF-BF11D3B4BCB6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2800" b="0">
                <a:solidFill>
                  <a:schemeClr val="bg1"/>
                </a:solidFill>
                <a:latin typeface="+mn-lt"/>
              </a:defRPr>
            </a:lvl1pPr>
            <a:lvl2pPr marL="1371600" indent="-228600" algn="l"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140178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67" y="87568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6340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7" y="1608463"/>
            <a:ext cx="3345492" cy="364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90094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59" y="1454151"/>
            <a:ext cx="10972800" cy="4754880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188457-8B39-4B81-AE2C-7571FF3FC4B9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571039777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Long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3040"/>
            <a:ext cx="8900160" cy="4754880"/>
          </a:xfrm>
        </p:spPr>
        <p:txBody>
          <a:bodyPr/>
          <a:lstStyle>
            <a:lvl1pPr>
              <a:spcBef>
                <a:spcPts val="600"/>
              </a:spcBef>
              <a:defRPr sz="1800" b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DFCBBD-20CB-47A0-8198-79E837DCA651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969609172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A24EA5-3C12-43A5-9C11-14021E8C1935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710908649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056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A232D4-5F96-4CFA-9E06-6E735808F80C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214970193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3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A3F4FDD-022C-488C-9C1B-EE6D0EFBF496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219787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5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BCC5B6-50EE-4270-B364-80A5AB7023EC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707484117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0E663B-CCE4-4CDC-9EE4-528137349697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10375457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6ED0B8-6BF9-4A13-ADA3-740054F609B4}" type="datetime1">
              <a:rPr lang="en-US" smtClean="0"/>
              <a:t>8/1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67347570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B4DD36-F3E4-493F-BA20-3B3FA5147357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832087977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2"/>
            <a:ext cx="1587403" cy="17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814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7A4205-F18B-4A74-90BE-152336C4E5B2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010163991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Char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AC1856-7856-4C8B-8D7D-F7474C643A67}" type="datetime1">
              <a:rPr lang="en-US" smtClean="0">
                <a:solidFill>
                  <a:prstClr val="white"/>
                </a:solidFill>
              </a:rPr>
              <a:t>8/14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4957" y="1463040"/>
            <a:ext cx="10972800" cy="731520"/>
          </a:xfrm>
        </p:spPr>
        <p:txBody>
          <a:bodyPr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CHART TITLE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4957" y="2286000"/>
            <a:ext cx="10972800" cy="3657600"/>
          </a:xfrm>
        </p:spPr>
        <p:txBody>
          <a:bodyPr rIns="0" anchor="ctr" anchorCtr="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84666"/>
          </a:xfrm>
        </p:spPr>
        <p:txBody>
          <a:bodyPr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1033349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ront 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" y="-403"/>
            <a:ext cx="12191287" cy="685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688682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997103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70560" y="3108960"/>
            <a:ext cx="10582656" cy="1645920"/>
          </a:xfrm>
        </p:spPr>
        <p:txBody>
          <a:bodyPr/>
          <a:lstStyle>
            <a:lvl1pPr algn="l">
              <a:lnSpc>
                <a:spcPct val="80000"/>
              </a:lnSpc>
              <a:defRPr sz="4400" b="0" cap="none" spc="9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172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70" y="6427473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white"/>
                </a:solidFill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7760"/>
            <a:ext cx="6461760" cy="640080"/>
          </a:xfrm>
        </p:spPr>
        <p:txBody>
          <a:bodyPr/>
          <a:lstStyle>
            <a:lvl1pPr>
              <a:defRPr sz="1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08772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48424C-F169-4D02-9C2C-5C3D3DB69A56}" type="datetime1">
              <a:rPr lang="en-US" smtClean="0"/>
              <a:t>8/1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EC2CFB-C0B4-45A9-BE79-149F6DC51BE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523515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402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75053" y="6428232"/>
            <a:ext cx="390144" cy="283464"/>
          </a:xfr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20206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761A1C-7C20-BC0E-2F04-0496293FA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4987133"/>
            <a:ext cx="12192000" cy="193903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D2F7C0-E654-F5A4-6690-D96025DC3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67851" y="569846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396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603B66F-3879-19E6-AE45-C56F7DBC1A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00551" y="5593556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7139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36378E9-DDF5-4E55-FA35-6905E6C8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1" y="5509815"/>
            <a:ext cx="3390900" cy="825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62DDE5-E12C-E49C-1978-7F412E3B53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003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lterna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843" y="4847374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56843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41A1D3F-9B76-CDD4-F9D5-C9210188C0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5509815"/>
            <a:ext cx="3429000" cy="8509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68FF5DC-6AD0-EB8F-8BE2-C49A420DD3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92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F6BEBBBD-3E0A-1D35-E52E-D64BEE8160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280" y="376972"/>
            <a:ext cx="11521440" cy="61040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718811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000" y="5237491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824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een, plant, decorated, colorful&#10;&#10;Description automatically generated">
            <a:extLst>
              <a:ext uri="{FF2B5EF4-FFF2-40B4-BE49-F238E27FC236}">
                <a16:creationId xmlns:a16="http://schemas.microsoft.com/office/drawing/2014/main" id="{9B89D87B-36CA-5D38-A52B-9B86BD4A6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955" y="377170"/>
            <a:ext cx="11518091" cy="61036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940" y="746783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2940" y="5298419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51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olorful, decorated&#10;&#10;Description automatically generated">
            <a:extLst>
              <a:ext uri="{FF2B5EF4-FFF2-40B4-BE49-F238E27FC236}">
                <a16:creationId xmlns:a16="http://schemas.microsoft.com/office/drawing/2014/main" id="{A9D9EA07-F350-03AB-854A-0A7D83DFD9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335280" y="297427"/>
            <a:ext cx="11521440" cy="486236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13A2128-AB26-0C3C-DA00-9310B0A47D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280" y="4340647"/>
            <a:ext cx="11521440" cy="18323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4545" y="5858241"/>
            <a:ext cx="5335155" cy="702332"/>
          </a:xfrm>
        </p:spPr>
        <p:txBody>
          <a:bodyPr anchor="ctr">
            <a:no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AB0AB06-0A78-C5EC-7B70-3D50898A84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299" y="554732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72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4B0F5686-B1A4-5E8C-97F0-DBC5CC9B3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315" y="452885"/>
            <a:ext cx="11391172" cy="36420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807" y="5772336"/>
            <a:ext cx="5335155" cy="702332"/>
          </a:xfrm>
        </p:spPr>
        <p:txBody>
          <a:bodyPr anchor="b">
            <a:noAutofit/>
          </a:bodyPr>
          <a:lstStyle>
            <a:lvl1pPr algn="l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7E6198-A71B-7B09-55B3-95FF6068EA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9608" y="2555073"/>
            <a:ext cx="11510587" cy="1830660"/>
          </a:xfrm>
          <a:prstGeom prst="rect">
            <a:avLst/>
          </a:prstGeom>
        </p:spPr>
      </p:pic>
      <p:pic>
        <p:nvPicPr>
          <p:cNvPr id="8" name="Picture 7" descr="A close-up of a sign&#10;&#10;Description automatically generated with low confidence">
            <a:extLst>
              <a:ext uri="{FF2B5EF4-FFF2-40B4-BE49-F238E27FC236}">
                <a16:creationId xmlns:a16="http://schemas.microsoft.com/office/drawing/2014/main" id="{E803D332-B80F-ABC6-CD66-2A0B30E531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3439" y="5567129"/>
            <a:ext cx="2877048" cy="70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637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7915E92-018A-36DE-9085-F56EB4628F89}"/>
              </a:ext>
            </a:extLst>
          </p:cNvPr>
          <p:cNvSpPr txBox="1">
            <a:spLocks/>
          </p:cNvSpPr>
          <p:nvPr userDrawn="1"/>
        </p:nvSpPr>
        <p:spPr>
          <a:xfrm>
            <a:off x="831851" y="4224339"/>
            <a:ext cx="2921284" cy="58303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9FCB7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tribu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606E15-F047-74F4-EDD6-46CAEE05BA03}"/>
              </a:ext>
            </a:extLst>
          </p:cNvPr>
          <p:cNvSpPr txBox="1"/>
          <p:nvPr userDrawn="1"/>
        </p:nvSpPr>
        <p:spPr>
          <a:xfrm>
            <a:off x="838200" y="2754746"/>
            <a:ext cx="9958755" cy="13388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ote or pullout phrase: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nienihi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llibu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riti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fictat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sape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repe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litect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d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mqu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catu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busa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s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m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ru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on. </a:t>
            </a:r>
          </a:p>
        </p:txBody>
      </p:sp>
    </p:spTree>
    <p:extLst>
      <p:ext uri="{BB962C8B-B14F-4D97-AF65-F5344CB8AC3E}">
        <p14:creationId xmlns:p14="http://schemas.microsoft.com/office/powerpoint/2010/main" val="4583719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6140"/>
                </a:solidFill>
              </a:rPr>
              <a:t>THE CLARA ABBOTT FOUNDATION</a:t>
            </a:r>
            <a:endParaRPr lang="en-US" dirty="0">
              <a:solidFill>
                <a:srgbClr val="00614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006140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793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E5F46412-918F-4298-2723-D85C730AF6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42970"/>
          <a:stretch/>
        </p:blipFill>
        <p:spPr>
          <a:xfrm flipH="1">
            <a:off x="-19051" y="5750444"/>
            <a:ext cx="12211051" cy="1107556"/>
          </a:xfrm>
          <a:prstGeom prst="rect">
            <a:avLst/>
          </a:prstGeom>
        </p:spPr>
      </p:pic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BE16F728-9C47-2834-B806-6C892566C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5B9FADD4-3FEC-06B0-7A83-70AECA26F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5248F8E2-F383-9A9C-E81E-57DD23322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20FFFD-E099-3C38-D045-416AEDDD55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788294"/>
          </a:xfrm>
        </p:spPr>
        <p:txBody>
          <a:bodyPr>
            <a:noAutofit/>
          </a:bodyPr>
          <a:lstStyle>
            <a:lvl1pPr>
              <a:lnSpc>
                <a:spcPts val="1800"/>
              </a:lnSpc>
              <a:defRPr/>
            </a:lvl1pPr>
            <a:lvl2pPr>
              <a:lnSpc>
                <a:spcPts val="1800"/>
              </a:lnSpc>
              <a:defRPr/>
            </a:lvl2pPr>
            <a:lvl3pPr>
              <a:lnSpc>
                <a:spcPts val="1800"/>
              </a:lnSpc>
              <a:defRPr/>
            </a:lvl3pPr>
            <a:lvl4pPr>
              <a:lnSpc>
                <a:spcPts val="1800"/>
              </a:lnSpc>
              <a:defRPr/>
            </a:lvl4pPr>
            <a:lvl5pPr>
              <a:lnSpc>
                <a:spcPts val="18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6848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912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FCB72"/>
                </a:solidFill>
              </a:rPr>
              <a:t>THE CLARA ABBOTT FOUNDATION</a:t>
            </a:r>
            <a:endParaRPr lang="en-US" dirty="0">
              <a:solidFill>
                <a:srgbClr val="9FCB7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FCB7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9FCB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415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750483"/>
            <a:ext cx="10972800" cy="446648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D9757-D68B-4C79-BEFD-2D6B73BE9549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926035185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C40B83-BEBD-CB36-3FA4-7792E6968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429002"/>
            <a:ext cx="12192000" cy="504679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7369301-FFCC-6218-AF0A-1F9A75F42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38959"/>
            <a:ext cx="6026151" cy="2852737"/>
          </a:xfrm>
        </p:spPr>
        <p:txBody>
          <a:bodyPr anchor="b"/>
          <a:lstStyle>
            <a:lvl1pPr>
              <a:defRPr sz="4500" baseline="0"/>
            </a:lvl1pPr>
          </a:lstStyle>
          <a:p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498CF43-7746-91AD-B6A8-D0EFDB57C5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5"/>
            <a:ext cx="3246989" cy="77491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head here</a:t>
            </a: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452DBC53-EAF4-A25F-B1E6-C25F21648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11D85041-AD37-2F7F-C1EE-374115774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73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CE794C8-29A4-E10E-9FA7-AD1D5B7237C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94552B-C541-F96F-0BAE-B21703D0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3BD7E-3B53-0B77-94D6-64B6157CA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A5D293-F913-B51C-A95D-8B0DD7454D3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9" y="2057400"/>
            <a:ext cx="4482839" cy="3811588"/>
          </a:xfrm>
        </p:spPr>
        <p:txBody>
          <a:bodyPr>
            <a:noAutofit/>
          </a:bodyPr>
          <a:lstStyle>
            <a:lvl1pPr>
              <a:defRPr sz="1350" baseline="0"/>
            </a:lvl1pPr>
          </a:lstStyle>
          <a:p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nienihi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ll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riti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es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ffictat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pe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perepe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e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ilitect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a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ped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un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mqu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ec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?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bu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s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m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har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con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ssi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r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qu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 sitio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te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,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is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nve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r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rumquid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olupta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. </a:t>
            </a:r>
          </a:p>
          <a:p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ta ven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accatur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ugiasp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ediss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i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eb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l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gniaspel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upt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imuscill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, site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er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nsequat</a:t>
            </a:r>
            <a:endParaRPr lang="en-US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F260E-2FAC-3BD5-8CE5-B335966BD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488158"/>
            <a:ext cx="4482839" cy="1325563"/>
          </a:xfrm>
        </p:spPr>
        <p:txBody>
          <a:bodyPr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5050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3803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83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AD063-30EE-BEA2-DCA9-A72406ED0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9C2B7-4C09-316A-2A49-1319157403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542E7-7F0A-D64D-2CCB-595E1A73C6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9CD0BF-6254-DC0F-DC23-29C938C49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6E97F0-65EE-10B5-3F5D-26F9D65C8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FCB51B-149E-BF38-1D02-F17A91C25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0A3F5-CFEE-3EC0-FD7D-A6BB377CF2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63F169-692B-E22E-739C-7098D58A1B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3EFB0E-B69F-66C3-87D0-6FFDB06EA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3458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1637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1637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046F806-7E03-451A-2184-E622208F685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1529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4DB1D29-E44F-16F2-5D8A-A0B50B06BDD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71529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F437C77-49BB-327C-0E3E-63069510B60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031421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371D538-6EAB-E9C4-2D37-46B80661C90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31421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F667251-9507-85ED-00EC-C6FD25B7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226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ED3E2-EF5F-C1EE-58AF-0F0181FD4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B25FEF-1002-5A5E-CEA0-91F0ADECF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E5F4B-4B6F-968E-EAB5-AFB02360D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9AB58D-B0CB-07C7-77FF-C909220E6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56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101F8-7BC4-49ED-B461-9F294BC6D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6975" y="2526984"/>
            <a:ext cx="4718051" cy="1133475"/>
          </a:xfrm>
        </p:spPr>
        <p:txBody>
          <a:bodyPr anchor="b">
            <a:noAutofit/>
          </a:bodyPr>
          <a:lstStyle>
            <a:lvl1pPr algn="ctr"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C1A4D67-9F0C-C523-BAF8-9A724BE1BB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0" y="5492230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CALIBRI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972800" cy="4754880"/>
          </a:xfrm>
        </p:spPr>
        <p:txBody>
          <a:bodyPr/>
          <a:lstStyle>
            <a:lvl1pPr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A3C22-03BB-48FC-AAB6-D5E29661D762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54205424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3040"/>
            <a:ext cx="10477373" cy="4754880"/>
          </a:xfrm>
        </p:spPr>
        <p:txBody>
          <a:bodyPr/>
          <a:lstStyle>
            <a:lvl1pPr>
              <a:spcBef>
                <a:spcPts val="1800"/>
              </a:spcBef>
              <a:defRPr sz="1800" b="0">
                <a:solidFill>
                  <a:schemeClr val="tx1"/>
                </a:solidFill>
                <a:latin typeface="+mn-lt"/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BC05-FE77-4B78-BDB6-2488AE7FE548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65084008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9C85-4956-4A14-B7F2-0D9F2635B5EA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87602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sz="16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lang="en-US" sz="16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75BBC-D02F-4BD4-B6C2-39D1DE01986A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070949250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365760"/>
            <a:ext cx="10972800" cy="914400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750483"/>
            <a:ext cx="10972800" cy="4467436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2F35C2B-094B-4CED-8AB2-5BB94B9F63F3}" type="datetime1">
              <a:rPr lang="en-US" smtClean="0">
                <a:solidFill>
                  <a:srgbClr val="000000"/>
                </a:solidFill>
              </a:rPr>
              <a:t>8/14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5053" y="6428232"/>
            <a:ext cx="390144" cy="283464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71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4" r:id="rId33"/>
    <p:sldLayoutId id="2147483695" r:id="rId34"/>
    <p:sldLayoutId id="2147483696" r:id="rId35"/>
    <p:sldLayoutId id="2147483697" r:id="rId36"/>
  </p:sldLayoutIdLst>
  <p:transition spd="slow">
    <p:push dir="u"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0376EA-3C54-591E-52E7-8B4DA6DCC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8BCB3-9D88-5587-ED2C-AC17FED331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59271-2CF4-C1EC-47BE-A62DFCCE0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6367AE-8C9B-920C-991F-D4D35D0F3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 baseline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171450" indent="-171450" algn="l" defTabSz="685800" rtl="0" eaLnBrk="1" latinLnBrk="0" hangingPunct="1">
        <a:lnSpc>
          <a:spcPts val="18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5143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8572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2001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15430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9.png"/><Relationship Id="rId5" Type="http://schemas.openxmlformats.org/officeDocument/2006/relationships/image" Target="../media/image28.emf"/><Relationship Id="rId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29.png"/><Relationship Id="rId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D69511A2-EBC4-CFC3-A2F5-126B897B8180}"/>
              </a:ext>
            </a:extLst>
          </p:cNvPr>
          <p:cNvSpPr txBox="1"/>
          <p:nvPr/>
        </p:nvSpPr>
        <p:spPr>
          <a:xfrm>
            <a:off x="868680" y="2424868"/>
            <a:ext cx="8061960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sz="1800" b="0" i="0" u="none" strike="noStrike" baseline="0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仅适用于 Abbott 在职员工、退休人员、配偶和受抚养子女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sz="1800" b="0" i="0" u="none" strike="noStrike" baseline="0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成立于 1940 年，以纪念 Clara Abbott（Abbott 创始人的妻子）遗嘱中的一笔遗赠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sz="1800" b="0" i="0" u="none" strike="noStrike" baseline="0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非 Abbott 资助或管理；独立的非营利组织</a:t>
            </a: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sz="1800" b="0" i="0" u="none" strike="noStrike" baseline="0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为世界各地的 Abbott 员工提供资助 </a:t>
            </a:r>
            <a:endParaRPr lang="zh-CN" dirty="0">
              <a:solidFill>
                <a:srgbClr val="000000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cs typeface="Roboto" panose="02000000000000000000" pitchFamily="2" charset="0"/>
            </a:endParaRPr>
          </a:p>
          <a:p>
            <a:pPr marL="285750" marR="110490" indent="-285750" algn="l" rtl="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sz="1800" b="0" i="0" u="none" strike="noStrike" baseline="0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不是 Abbott 福利或权利</a:t>
            </a:r>
            <a:endParaRPr lang="zh-CN" dirty="0">
              <a:latin typeface="Microsoft JhengHei" panose="020B0604030504040204" pitchFamily="34" charset="-120"/>
              <a:ea typeface="Microsoft JhengHei" panose="020B0604030504040204" pitchFamily="34" charset="-120"/>
              <a:cs typeface="Roboto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0D50A23-ACDF-DA9D-DCA7-24AD80563E1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D9F477-20DC-4194-A0EA-BE206FC9C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4363" y="6387859"/>
            <a:ext cx="4114800" cy="365125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RA ABBOTT 基金会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4AA585-FE03-494F-A210-6CAC88F5E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0FB4E8-F442-B1B3-37D0-8191DD415BD5}"/>
              </a:ext>
            </a:extLst>
          </p:cNvPr>
          <p:cNvSpPr txBox="1"/>
          <p:nvPr/>
        </p:nvSpPr>
        <p:spPr>
          <a:xfrm>
            <a:off x="939800" y="1542811"/>
            <a:ext cx="80981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zh-CN" b="0" i="0" u="none" baseline="0" dirty="0">
                <a:solidFill>
                  <a:srgbClr val="EF5D5E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致力于帮助 Abbott 家庭渡过经济难关的非营利组织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451251C-DBD5-6FEE-B3B0-BED1F09425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2240" y="1649269"/>
            <a:ext cx="2950251" cy="28505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5F64770-C98B-868B-E8D8-22D71E3C2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8510" y="4772267"/>
            <a:ext cx="3390900" cy="825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CA1CB9-10FC-4F38-1B90-59239C056A7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8879677-3B0E-2143-F1B1-866365603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pPr algn="l" rtl="0"/>
            <a:r>
              <a:rPr lang="zh-CN" sz="4000" b="0" i="0" u="none" baseline="0" dirty="0">
                <a:solidFill>
                  <a:srgbClr val="006140"/>
                </a:solidFill>
                <a:sym typeface="Arial" panose="020B0604020202020204" pitchFamily="34" charset="0"/>
              </a:rPr>
              <a:t>Clara Abbott </a:t>
            </a:r>
            <a:r>
              <a:rPr lang="zh-CN" sz="4000" b="0" i="0" u="none" baseline="0" dirty="0">
                <a:solidFill>
                  <a:srgbClr val="00614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 panose="020B0604020202020204" pitchFamily="34" charset="0"/>
              </a:rPr>
              <a:t>基金会</a:t>
            </a:r>
            <a:endParaRPr lang="zh-CN" sz="4000" b="0" dirty="0">
              <a:solidFill>
                <a:srgbClr val="006140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85167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468CE11-A647-27BF-5EAF-056B9588CB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3FB8A2-CDBB-42E0-9930-F8FB0752F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zh-CN" sz="4000" b="0" i="0" u="none" baseline="0" dirty="0">
                <a:solidFill>
                  <a:srgbClr val="00614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sym typeface="Arial" panose="020B0604020202020204" pitchFamily="34" charset="0"/>
              </a:rPr>
              <a:t>基金会服务</a:t>
            </a:r>
            <a:endParaRPr lang="zh-CN" sz="4000" b="0" dirty="0">
              <a:solidFill>
                <a:srgbClr val="006140"/>
              </a:solidFill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32E770-8D0C-45CD-9AE3-889FB969E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RA ABBOTT 基金会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C8190-1DB4-400B-AD33-4B0859D7F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2" name="Picture 11" descr="Una imagen con texto, barrilete&#10;&#10;Descripción generada automáticamente">
            <a:extLst>
              <a:ext uri="{FF2B5EF4-FFF2-40B4-BE49-F238E27FC236}">
                <a16:creationId xmlns:a16="http://schemas.microsoft.com/office/drawing/2014/main" id="{4CA6C0AA-24B4-4568-A866-3298AC9C1BA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026093" y="3341776"/>
            <a:ext cx="1812134" cy="35019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F41A3F-6D54-2233-7C9B-786C293562C1}"/>
              </a:ext>
            </a:extLst>
          </p:cNvPr>
          <p:cNvSpPr txBox="1"/>
          <p:nvPr/>
        </p:nvSpPr>
        <p:spPr>
          <a:xfrm>
            <a:off x="1061837" y="4888005"/>
            <a:ext cx="39959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1200" b="0" i="1" u="none" strike="noStrike" kern="1200" cap="none" spc="0" normalizeH="0" baseline="0" dirty="0">
                <a:ln>
                  <a:noFill/>
                </a:ln>
                <a:solidFill>
                  <a:srgbClr val="100E0E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承包商不具备资格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92C1B1B-EE71-496D-A13A-DEFE6295B83D}"/>
              </a:ext>
            </a:extLst>
          </p:cNvPr>
          <p:cNvSpPr txBox="1">
            <a:spLocks/>
          </p:cNvSpPr>
          <p:nvPr/>
        </p:nvSpPr>
        <p:spPr>
          <a:xfrm>
            <a:off x="839505" y="2136944"/>
            <a:ext cx="3032873" cy="1118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zh-CN" sz="1800" b="0" i="0" u="none" baseline="0" dirty="0">
                <a:solidFill>
                  <a:srgbClr val="EF5D5E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财务援助补助金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zh-CN" sz="1400" b="0" i="0" u="none" baseline="0" dirty="0">
                <a:solidFill>
                  <a:srgbClr val="100E0E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提供短期补助金，帮助难以负担基本生活需求的 Abbott 家庭</a:t>
            </a:r>
            <a:endParaRPr lang="zh-CN" sz="1400" dirty="0">
              <a:solidFill>
                <a:srgbClr val="73A93D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cs typeface="Roboto" panose="02000000000000000000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5C17C5-88DB-BE2E-6F76-C1603E59CB37}"/>
              </a:ext>
            </a:extLst>
          </p:cNvPr>
          <p:cNvSpPr txBox="1">
            <a:spLocks/>
          </p:cNvSpPr>
          <p:nvPr/>
        </p:nvSpPr>
        <p:spPr>
          <a:xfrm>
            <a:off x="8037872" y="2136944"/>
            <a:ext cx="3384676" cy="10201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>
              <a:tabLst>
                <a:tab pos="2916238" algn="l"/>
              </a:tabLst>
              <a:defRPr/>
            </a:pPr>
            <a:r>
              <a:rPr lang="zh-CN" sz="1800" b="0" i="0" u="none" baseline="0" dirty="0">
                <a:solidFill>
                  <a:srgbClr val="EF5D5E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大学奖学金</a:t>
            </a:r>
          </a:p>
          <a:p>
            <a:pPr algn="ctr" rtl="0" fontAlgn="auto">
              <a:spcBef>
                <a:spcPts val="600"/>
              </a:spcBef>
              <a:spcAft>
                <a:spcPts val="0"/>
              </a:spcAft>
              <a:tabLst>
                <a:tab pos="2916238" algn="l"/>
              </a:tabLst>
            </a:pPr>
            <a:r>
              <a:rPr lang="zh-CN" sz="1400" b="0" i="0" u="none" baseline="0" dirty="0">
                <a:solidFill>
                  <a:srgbClr val="100E0E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为 Abbott 员工子女提供大学/大专教育费用资助</a:t>
            </a:r>
            <a:endParaRPr lang="zh-CN" sz="1800" dirty="0">
              <a:solidFill>
                <a:srgbClr val="5F6062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zh-CN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l" rtl="0">
              <a:defRPr/>
            </a:pPr>
            <a:endParaRPr lang="zh-CN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CD2F6B-BCEB-FC62-296D-624289A08A66}"/>
              </a:ext>
            </a:extLst>
          </p:cNvPr>
          <p:cNvSpPr txBox="1"/>
          <p:nvPr/>
        </p:nvSpPr>
        <p:spPr>
          <a:xfrm>
            <a:off x="4421689" y="2136944"/>
            <a:ext cx="3075936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tabLst>
                <a:tab pos="2916238" algn="l"/>
              </a:tabLst>
              <a:defRPr/>
            </a:pPr>
            <a:r>
              <a:rPr lang="zh-CN" b="0" i="0" u="none" baseline="0" dirty="0">
                <a:solidFill>
                  <a:srgbClr val="EF5D5E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紧急救灾补助金</a:t>
            </a:r>
          </a:p>
          <a:p>
            <a:pPr algn="ctr" rtl="0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zh-CN" sz="1400" b="0" i="0" u="none" baseline="0" dirty="0">
                <a:solidFill>
                  <a:srgbClr val="100E0E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在发生灾害时提供紧急支持，以确保获得食物、衣物和住所</a:t>
            </a:r>
          </a:p>
          <a:p>
            <a:endParaRPr lang="zh-CN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4A3E86-AF71-3AC7-E124-8246C19FE13D}"/>
              </a:ext>
            </a:extLst>
          </p:cNvPr>
          <p:cNvCxnSpPr/>
          <p:nvPr/>
        </p:nvCxnSpPr>
        <p:spPr>
          <a:xfrm>
            <a:off x="4095156" y="2222640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735A8D-1026-DECE-3677-274E484B7BEA}"/>
              </a:ext>
            </a:extLst>
          </p:cNvPr>
          <p:cNvCxnSpPr/>
          <p:nvPr/>
        </p:nvCxnSpPr>
        <p:spPr>
          <a:xfrm>
            <a:off x="7798568" y="2245829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222691D-0304-5029-940D-3D6604646404}"/>
              </a:ext>
            </a:extLst>
          </p:cNvPr>
          <p:cNvSpPr txBox="1">
            <a:spLocks/>
          </p:cNvSpPr>
          <p:nvPr/>
        </p:nvSpPr>
        <p:spPr>
          <a:xfrm>
            <a:off x="924562" y="3657718"/>
            <a:ext cx="10007598" cy="62783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ts val="18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143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572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2001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5430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00000"/>
              </a:lnSpc>
              <a:spcBef>
                <a:spcPts val="600"/>
              </a:spcBef>
              <a:buNone/>
            </a:pPr>
            <a:r>
              <a:rPr lang="zh-CN" sz="1800" b="0" i="0" u="none" baseline="0" dirty="0">
                <a:solidFill>
                  <a:srgbClr val="EF5D5E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资格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zh-CN" sz="1600" b="0" i="0" u="none" baseline="0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在 Abbott 连续服务至少一年的在职员工符合条件；以及 </a:t>
            </a:r>
          </a:p>
          <a:p>
            <a:pPr algn="l" rtl="0">
              <a:lnSpc>
                <a:spcPct val="100000"/>
              </a:lnSpc>
              <a:spcBef>
                <a:spcPts val="600"/>
              </a:spcBef>
            </a:pPr>
            <a:r>
              <a:rPr lang="zh-CN" sz="1600" b="0" i="0" u="none" baseline="0" dirty="0">
                <a:solidFill>
                  <a:srgbClr val="000000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在为公司工作的最后一天，年满 50 周岁且在 Abbott 连续工作满 10 年的员工可终身享有资格 </a:t>
            </a:r>
          </a:p>
          <a:p>
            <a:endParaRPr lang="zh-CN" dirty="0"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E8135B-0032-D8C0-2245-7C557610C2BF}"/>
              </a:ext>
            </a:extLst>
          </p:cNvPr>
          <p:cNvSpPr txBox="1"/>
          <p:nvPr/>
        </p:nvSpPr>
        <p:spPr>
          <a:xfrm>
            <a:off x="6441610" y="5270012"/>
            <a:ext cx="37156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sz="2000" b="0" i="0" u="none" strike="noStrike" kern="1200" cap="none" spc="0" normalizeH="0" baseline="0" dirty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Roboto" panose="02000000000000000000" pitchFamily="2" charset="0"/>
              </a:rPr>
              <a:t>更多信息，请访问 </a:t>
            </a:r>
            <a:br>
              <a:rPr kumimoji="0" lang="zh-CN" sz="2800" b="0" i="0" u="none" strike="noStrike" kern="1200" cap="none" spc="0" normalizeH="0" baseline="0" dirty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kumimoji="0" lang="zh-CN" sz="3400" b="0" i="0" u="none" strike="noStrike" kern="1200" cap="none" spc="0" normalizeH="0" baseline="0" dirty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lara.abbott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948246-8FCC-4338-8286-135D2ACEC561}"/>
              </a:ext>
            </a:extLst>
          </p:cNvPr>
          <p:cNvSpPr txBox="1"/>
          <p:nvPr/>
        </p:nvSpPr>
        <p:spPr>
          <a:xfrm>
            <a:off x="838200" y="1659514"/>
            <a:ext cx="98906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zh-CN" b="0" i="0" u="none" baseline="0" dirty="0">
                <a:solidFill>
                  <a:srgbClr val="006241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80 多年来为 Abbott 家庭提供基于需求的经济援助</a:t>
            </a:r>
          </a:p>
        </p:txBody>
      </p:sp>
    </p:spTree>
    <p:extLst>
      <p:ext uri="{BB962C8B-B14F-4D97-AF65-F5344CB8AC3E}">
        <p14:creationId xmlns:p14="http://schemas.microsoft.com/office/powerpoint/2010/main" val="1737301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16x9_White_2016" id="{60AEE1A8-77C6-4D52-995B-CA44F3D7FA5F}" vid="{E4F1A8B0-0D9C-4468-AA65-039095662AFE}"/>
    </a:ext>
  </a:extLst>
</a:theme>
</file>

<file path=ppt/theme/theme2.xml><?xml version="1.0" encoding="utf-8"?>
<a:theme xmlns:a="http://schemas.openxmlformats.org/drawingml/2006/main" name="Office Theme">
  <a:themeElements>
    <a:clrScheme name="Custom 7">
      <a:dk1>
        <a:srgbClr val="006140"/>
      </a:dk1>
      <a:lt1>
        <a:srgbClr val="FFFFFF"/>
      </a:lt1>
      <a:dk2>
        <a:srgbClr val="9FCB72"/>
      </a:dk2>
      <a:lt2>
        <a:srgbClr val="919191"/>
      </a:lt2>
      <a:accent1>
        <a:srgbClr val="9FCB71"/>
      </a:accent1>
      <a:accent2>
        <a:srgbClr val="199BD9"/>
      </a:accent2>
      <a:accent3>
        <a:srgbClr val="EF5D5D"/>
      </a:accent3>
      <a:accent4>
        <a:srgbClr val="F3E160"/>
      </a:accent4>
      <a:accent5>
        <a:srgbClr val="7CD5E1"/>
      </a:accent5>
      <a:accent6>
        <a:srgbClr val="7C60AB"/>
      </a:accent6>
      <a:hlink>
        <a:srgbClr val="1B9BD9"/>
      </a:hlink>
      <a:folHlink>
        <a:srgbClr val="EE5D5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4</TotalTime>
  <Words>430</Words>
  <Application>Microsoft Office PowerPoint</Application>
  <PresentationFormat>Widescreen</PresentationFormat>
  <Paragraphs>2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Microsoft JhengHei</vt:lpstr>
      <vt:lpstr>Arial</vt:lpstr>
      <vt:lpstr>Calibri</vt:lpstr>
      <vt:lpstr>Georgia</vt:lpstr>
      <vt:lpstr>Roboto</vt:lpstr>
      <vt:lpstr>10_PPT Basic_White_v5_prophet_edit</vt:lpstr>
      <vt:lpstr>Office Theme</vt:lpstr>
      <vt:lpstr>think-cell Slide</vt:lpstr>
      <vt:lpstr>Clara Abbott 基金会</vt:lpstr>
      <vt:lpstr>基金会服务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urg_archive@burgtranslations.com</dc:creator>
  <cp:lastModifiedBy>Hopkins, Kristine M</cp:lastModifiedBy>
  <cp:revision>15</cp:revision>
  <dcterms:created xsi:type="dcterms:W3CDTF">2023-06-16T05:27:17Z</dcterms:created>
  <dcterms:modified xsi:type="dcterms:W3CDTF">2023-08-14T19:40:36Z</dcterms:modified>
</cp:coreProperties>
</file>